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</p:sldMasterIdLst>
  <p:notesMasterIdLst>
    <p:notesMasterId r:id="rId26"/>
  </p:notesMasterIdLst>
  <p:handoutMasterIdLst>
    <p:handoutMasterId r:id="rId27"/>
  </p:handoutMasterIdLst>
  <p:sldIdLst>
    <p:sldId id="421" r:id="rId6"/>
    <p:sldId id="689" r:id="rId7"/>
    <p:sldId id="645" r:id="rId8"/>
    <p:sldId id="647" r:id="rId9"/>
    <p:sldId id="648" r:id="rId10"/>
    <p:sldId id="649" r:id="rId11"/>
    <p:sldId id="680" r:id="rId12"/>
    <p:sldId id="675" r:id="rId13"/>
    <p:sldId id="679" r:id="rId14"/>
    <p:sldId id="683" r:id="rId15"/>
    <p:sldId id="685" r:id="rId16"/>
    <p:sldId id="669" r:id="rId17"/>
    <p:sldId id="688" r:id="rId18"/>
    <p:sldId id="684" r:id="rId19"/>
    <p:sldId id="664" r:id="rId20"/>
    <p:sldId id="665" r:id="rId21"/>
    <p:sldId id="666" r:id="rId22"/>
    <p:sldId id="667" r:id="rId23"/>
    <p:sldId id="668" r:id="rId24"/>
    <p:sldId id="584" r:id="rId25"/>
  </p:sldIdLst>
  <p:sldSz cx="12192000" cy="6858000"/>
  <p:notesSz cx="6858000" cy="9144000"/>
  <p:custDataLst>
    <p:tags r:id="rId2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>
      <p:ext uri="{19B8F6BF-5375-455C-9EA6-DF929625EA0E}">
        <p15:presenceInfo xmlns:p15="http://schemas.microsoft.com/office/powerpoint/2012/main" userId="S-1-5-21-121752565-2208887045-340623127-23683233" providerId="AD"/>
      </p:ext>
    </p:extLst>
  </p:cmAuthor>
  <p:cmAuthor id="2" name="Vertika Rai" initials="VR" lastIdx="22" clrIdx="1">
    <p:extLst>
      <p:ext uri="{19B8F6BF-5375-455C-9EA6-DF929625EA0E}">
        <p15:presenceInfo xmlns:p15="http://schemas.microsoft.com/office/powerpoint/2012/main" userId="S-1-5-21-2404701332-79391348-2085898168-1548361" providerId="AD"/>
      </p:ext>
    </p:extLst>
  </p:cmAuthor>
  <p:cmAuthor id="3" name="Karan Ashara" initials="KA" lastIdx="34" clrIdx="2">
    <p:extLst>
      <p:ext uri="{19B8F6BF-5375-455C-9EA6-DF929625EA0E}">
        <p15:presenceInfo xmlns:p15="http://schemas.microsoft.com/office/powerpoint/2012/main" userId="S-1-5-21-121752565-2208887045-340623127-23342634" providerId="AD"/>
      </p:ext>
    </p:extLst>
  </p:cmAuthor>
  <p:cmAuthor id="4" name="Parkar, Mandar (C)" initials="PM(" lastIdx="3" clrIdx="3">
    <p:extLst>
      <p:ext uri="{19B8F6BF-5375-455C-9EA6-DF929625EA0E}">
        <p15:presenceInfo xmlns:p15="http://schemas.microsoft.com/office/powerpoint/2012/main" userId="S-1-5-21-2404701332-79391348-2085898168-2007112" providerId="AD"/>
      </p:ext>
    </p:extLst>
  </p:cmAuthor>
  <p:cmAuthor id="5" name="Upadhyay, Saurabh" initials="US" lastIdx="1" clrIdx="5">
    <p:extLst>
      <p:ext uri="{19B8F6BF-5375-455C-9EA6-DF929625EA0E}">
        <p15:presenceInfo xmlns:p15="http://schemas.microsoft.com/office/powerpoint/2012/main" userId="S-1-5-21-2404701332-79391348-2085898168-24320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59B"/>
    <a:srgbClr val="FE0000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65" autoAdjust="0"/>
    <p:restoredTop sz="88139" autoAdjust="0"/>
  </p:normalViewPr>
  <p:slideViewPr>
    <p:cSldViewPr snapToGrid="0">
      <p:cViewPr varScale="1">
        <p:scale>
          <a:sx n="64" d="100"/>
          <a:sy n="64" d="100"/>
        </p:scale>
        <p:origin x="606" y="7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8-11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8-11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385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Sept 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0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Q Asia: Connectivity Check : </a:t>
            </a:r>
            <a:r>
              <a:rPr lang="en-US" dirty="0" smtClean="0"/>
              <a:t>IPAccess : Japan </a:t>
            </a:r>
            <a:endParaRPr lang="en-US" dirty="0"/>
          </a:p>
        </p:txBody>
      </p:sp>
      <p:sp>
        <p:nvSpPr>
          <p:cNvPr id="6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9535886" y="721694"/>
            <a:ext cx="2129246" cy="5859577"/>
          </a:xfrm>
        </p:spPr>
        <p:txBody>
          <a:bodyPr/>
          <a:lstStyle/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For IPAccess ULL fibre options will  be available  on Primary Connection page and Secondary connection page </a:t>
            </a:r>
          </a:p>
          <a:p>
            <a:pPr marL="263525" lvl="2">
              <a:buClr>
                <a:schemeClr val="accent1"/>
              </a:buClr>
            </a:pPr>
            <a:r>
              <a:rPr lang="en-US" sz="1400" dirty="0"/>
              <a:t>Hong Kong and Singapore </a:t>
            </a:r>
            <a:r>
              <a:rPr lang="en-US" sz="1400" dirty="0" smtClean="0"/>
              <a:t>- ULL </a:t>
            </a:r>
            <a:r>
              <a:rPr lang="en-US" sz="1400" dirty="0" err="1" smtClean="0"/>
              <a:t>Fibre</a:t>
            </a:r>
            <a:r>
              <a:rPr lang="en-US" sz="1400" dirty="0" smtClean="0"/>
              <a:t> will </a:t>
            </a:r>
            <a:r>
              <a:rPr lang="en-US" sz="1400" dirty="0"/>
              <a:t>work same as Ethernet line</a:t>
            </a:r>
          </a:p>
          <a:p>
            <a:pPr marL="263525" lvl="2">
              <a:buClr>
                <a:schemeClr val="accent1"/>
              </a:buClr>
            </a:pPr>
            <a:endParaRPr lang="en-GB" sz="1300" dirty="0" smtClean="0"/>
          </a:p>
          <a:p>
            <a:endParaRPr lang="en-US" sz="1300" dirty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611" y="967285"/>
            <a:ext cx="9058275" cy="49149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55579" y="5555613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17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1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Q Asia: Connectivity Check : IPAccess : Japan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026" y="849014"/>
            <a:ext cx="9001125" cy="5314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026" y="6261312"/>
            <a:ext cx="8858250" cy="2571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63074" y="6226613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Vertical Text Placeholder 1"/>
          <p:cNvSpPr txBox="1">
            <a:spLocks/>
          </p:cNvSpPr>
          <p:nvPr/>
        </p:nvSpPr>
        <p:spPr>
          <a:xfrm>
            <a:off x="9535886" y="721694"/>
            <a:ext cx="2129246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US" sz="1300" dirty="0"/>
              <a:t>Once user selects an ULL </a:t>
            </a:r>
            <a:r>
              <a:rPr lang="en-US" sz="1300" dirty="0" err="1"/>
              <a:t>Fibre</a:t>
            </a:r>
            <a:r>
              <a:rPr lang="en-US" sz="1300" dirty="0"/>
              <a:t> option then the bandwidth and Resiliency will validated against what is present on the quote and appropriate error message will be shown </a:t>
            </a:r>
          </a:p>
          <a:p>
            <a:r>
              <a:rPr lang="en-GB" sz="1300" dirty="0" smtClean="0"/>
              <a:t>Scenario1: For IPAccess, if the billing type is Flat then the bandwidth check will be performed on Service Bandwidth</a:t>
            </a:r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012731" y="2678965"/>
            <a:ext cx="5403787" cy="37430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Bandwidth option selected in the ULL Table does match the bandwidth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12731" y="3108154"/>
            <a:ext cx="5576473" cy="28379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Resiliency option selected in the ULL Table does match the Resiliency selected 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565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705" y="721694"/>
            <a:ext cx="9058275" cy="48863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2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Q Asia: Connectivity Check : </a:t>
            </a:r>
            <a:r>
              <a:rPr lang="en-US" dirty="0" smtClean="0"/>
              <a:t>IPAccess : Japan </a:t>
            </a:r>
            <a:endParaRPr lang="en-US" dirty="0"/>
          </a:p>
        </p:txBody>
      </p:sp>
      <p:sp>
        <p:nvSpPr>
          <p:cNvPr id="6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9535886" y="721694"/>
            <a:ext cx="2129246" cy="5859577"/>
          </a:xfrm>
        </p:spPr>
        <p:txBody>
          <a:bodyPr/>
          <a:lstStyle/>
          <a:p>
            <a:pPr marL="263525" lvl="2">
              <a:buClr>
                <a:schemeClr val="accent1"/>
              </a:buClr>
            </a:pPr>
            <a:r>
              <a:rPr lang="en-US" sz="1300" dirty="0"/>
              <a:t>Once user selects an ULL </a:t>
            </a:r>
            <a:r>
              <a:rPr lang="en-US" sz="1300" dirty="0" err="1"/>
              <a:t>Fibre</a:t>
            </a:r>
            <a:r>
              <a:rPr lang="en-US" sz="1300" dirty="0"/>
              <a:t> option then the bandwidth and Resiliency will validated against what is present on the quote and appropriate error message will be </a:t>
            </a:r>
            <a:r>
              <a:rPr lang="en-US" sz="1300" dirty="0" smtClean="0"/>
              <a:t>shown</a:t>
            </a:r>
            <a:endParaRPr lang="en-US" sz="1300" dirty="0"/>
          </a:p>
          <a:p>
            <a:pPr marL="263525" lvl="2">
              <a:buClr>
                <a:schemeClr val="accent1"/>
              </a:buClr>
            </a:pPr>
            <a:r>
              <a:rPr lang="en-GB" sz="1300" dirty="0"/>
              <a:t>Scenario2: For IPAccess, if the billing type is UBB then the bandwidth check will be performed on </a:t>
            </a:r>
            <a:r>
              <a:rPr lang="en-GB" sz="1300" dirty="0" smtClean="0"/>
              <a:t>Maximum </a:t>
            </a:r>
            <a:r>
              <a:rPr lang="en-GB" sz="1300" dirty="0"/>
              <a:t>Bandwidth</a:t>
            </a:r>
            <a:endParaRPr lang="en-US" sz="1300" dirty="0"/>
          </a:p>
          <a:p>
            <a:pPr marL="0" lvl="2" indent="0">
              <a:buClr>
                <a:schemeClr val="accent1"/>
              </a:buClr>
              <a:buNone/>
            </a:pPr>
            <a:endParaRPr lang="en-US" sz="1300" dirty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012307" y="2535976"/>
            <a:ext cx="5403787" cy="37430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Bandwidth option selected in the ULL Table does match the bandwidth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007193" y="2992491"/>
            <a:ext cx="5300580" cy="34473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Resiliency option selected in the ULL Table does match the Resiliency selected 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705" y="5378285"/>
            <a:ext cx="8858250" cy="25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69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3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57" y="691557"/>
            <a:ext cx="9124950" cy="52292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507" y="6036874"/>
            <a:ext cx="8858250" cy="25717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14157" y="6083569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Vertical Text Placeholder 1"/>
          <p:cNvSpPr txBox="1">
            <a:spLocks/>
          </p:cNvSpPr>
          <p:nvPr/>
        </p:nvSpPr>
        <p:spPr>
          <a:xfrm>
            <a:off x="9535886" y="721694"/>
            <a:ext cx="2129246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US" sz="1300" dirty="0" smtClean="0"/>
              <a:t>Once user selects an ULL </a:t>
            </a:r>
            <a:r>
              <a:rPr lang="en-US" sz="1300" dirty="0" err="1" smtClean="0"/>
              <a:t>Fibre</a:t>
            </a:r>
            <a:r>
              <a:rPr lang="en-US" sz="1300" dirty="0" smtClean="0"/>
              <a:t> option then the bandwidth and Resiliency will validated against what is present on the quote and appropriate error message will be shown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Scenario3: For IPAccess, for the secondary connection the bandwidth check has to be done against the Backup bandwidth</a:t>
            </a: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007193" y="2324123"/>
            <a:ext cx="5403787" cy="37430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Bandwidth option selected in the ULL Table does match the bandwidth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07193" y="2992491"/>
            <a:ext cx="5300580" cy="34473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FF0000"/>
                </a:solidFill>
                <a:latin typeface="+mj-lt"/>
              </a:rPr>
              <a:t>Resiliency option selected in the ULL Table does match the Resiliency selected  Please change the bandwidth or select  another option from ULL table</a:t>
            </a:r>
            <a:endParaRPr lang="en-US" sz="9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8200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4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Q Asia: Connectivity Check : </a:t>
            </a:r>
            <a:r>
              <a:rPr lang="en-US" dirty="0" smtClean="0"/>
              <a:t>South Korea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9957"/>
            <a:ext cx="8270744" cy="30450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75053"/>
            <a:ext cx="8270744" cy="1573096"/>
          </a:xfrm>
          <a:prstGeom prst="rect">
            <a:avLst/>
          </a:prstGeom>
        </p:spPr>
      </p:pic>
      <p:sp>
        <p:nvSpPr>
          <p:cNvPr id="7" name="Vertical Text Placeholder 1"/>
          <p:cNvSpPr txBox="1">
            <a:spLocks/>
          </p:cNvSpPr>
          <p:nvPr/>
        </p:nvSpPr>
        <p:spPr>
          <a:xfrm>
            <a:off x="8720919" y="829957"/>
            <a:ext cx="3088943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For South Korea, we have a one DC building which provides on-net connectivity</a:t>
            </a:r>
          </a:p>
          <a:p>
            <a:pPr marL="263525" lvl="2">
              <a:buClr>
                <a:schemeClr val="accent1"/>
              </a:buClr>
            </a:pPr>
            <a:endParaRPr lang="en-GB" sz="1300" dirty="0" smtClean="0"/>
          </a:p>
          <a:p>
            <a:r>
              <a:rPr lang="en-US" sz="1300" dirty="0" smtClean="0"/>
              <a:t>Base price not found message comes in the pricing grid for this DC selection.</a:t>
            </a:r>
          </a:p>
          <a:p>
            <a:endParaRPr lang="en-US" sz="1300" dirty="0"/>
          </a:p>
          <a:p>
            <a:r>
              <a:rPr lang="en-US" sz="1300" dirty="0" smtClean="0"/>
              <a:t>CPQ will not provide any additional logic to handle any product specific variation for this DC</a:t>
            </a:r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74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5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PQ Asia: Connectivity Check: Bulk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81" y="959571"/>
            <a:ext cx="9400359" cy="4762500"/>
          </a:xfrm>
          <a:prstGeom prst="rect">
            <a:avLst/>
          </a:prstGeom>
        </p:spPr>
      </p:pic>
      <p:sp>
        <p:nvSpPr>
          <p:cNvPr id="6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9797143" y="929017"/>
            <a:ext cx="1698857" cy="5859577"/>
          </a:xfrm>
        </p:spPr>
        <p:txBody>
          <a:bodyPr/>
          <a:lstStyle/>
          <a:p>
            <a:pPr marL="263525" lvl="2">
              <a:buClr>
                <a:schemeClr val="accent1"/>
              </a:buClr>
            </a:pPr>
            <a:r>
              <a:rPr lang="en-US" sz="1300" dirty="0" smtClean="0"/>
              <a:t>ULL Check button should be introduced to execute the ULL check</a:t>
            </a:r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No hiding rule is required for this button</a:t>
            </a:r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For each line item a new radio button for ULL should be provided. </a:t>
            </a:r>
            <a:endParaRPr lang="en-US" sz="1300" dirty="0" smtClean="0"/>
          </a:p>
          <a:p>
            <a:endParaRPr lang="en-US" sz="1300" dirty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87312" y="1862618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158861" y="4135556"/>
            <a:ext cx="992778" cy="24050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749664" y="4127862"/>
            <a:ext cx="992778" cy="2481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5355772" y="3370217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223113" y="3273782"/>
            <a:ext cx="111237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B050"/>
                </a:solidFill>
              </a:rPr>
              <a:t>Remm Roppongi, Chome – 7, Minato City, Tokyo 106-003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950631" y="3370217"/>
            <a:ext cx="799033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933512" y="3340821"/>
            <a:ext cx="10710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Villa Fontanne, </a:t>
            </a:r>
            <a:r>
              <a:rPr lang="en-US" sz="1000" dirty="0">
                <a:solidFill>
                  <a:srgbClr val="00B050"/>
                </a:solidFill>
              </a:rPr>
              <a:t>Chome – 7, Minato City, Tokyo 106-0032</a:t>
            </a:r>
          </a:p>
        </p:txBody>
      </p:sp>
    </p:spTree>
    <p:extLst>
      <p:ext uri="{BB962C8B-B14F-4D97-AF65-F5344CB8AC3E}">
        <p14:creationId xmlns:p14="http://schemas.microsoft.com/office/powerpoint/2010/main" val="161374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6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: Connectivity Check: Bulk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74" y="1397726"/>
            <a:ext cx="8778240" cy="3847076"/>
          </a:xfrm>
          <a:prstGeom prst="rect">
            <a:avLst/>
          </a:prstGeom>
        </p:spPr>
      </p:pic>
      <p:sp>
        <p:nvSpPr>
          <p:cNvPr id="5" name="Vertical Text Placeholder 1"/>
          <p:cNvSpPr txBox="1">
            <a:spLocks/>
          </p:cNvSpPr>
          <p:nvPr/>
        </p:nvSpPr>
        <p:spPr>
          <a:xfrm>
            <a:off x="9797143" y="1198074"/>
            <a:ext cx="2233748" cy="5112785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In case the ULL check provides results back then the colour of the text (ULL) should change to blue. This indicates the availability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625733" y="4893202"/>
            <a:ext cx="992778" cy="24050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216536" y="4885508"/>
            <a:ext cx="992778" cy="24819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116284" y="4127863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160719" y="3933374"/>
            <a:ext cx="110517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Remm Roppongi, Chome – 7, Minato City, Tokyo 106-0032</a:t>
            </a:r>
            <a:endParaRPr lang="en-US" sz="1000" dirty="0">
              <a:solidFill>
                <a:srgbClr val="00B05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87394" y="4135557"/>
            <a:ext cx="799033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587394" y="3961293"/>
            <a:ext cx="10710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00B050"/>
                </a:solidFill>
              </a:rPr>
              <a:t>Villa Fontanne, </a:t>
            </a:r>
            <a:r>
              <a:rPr lang="en-US" sz="1000" dirty="0">
                <a:solidFill>
                  <a:srgbClr val="00B050"/>
                </a:solidFill>
              </a:rPr>
              <a:t>Chome – 7, Minato City, Tokyo 106-0032</a:t>
            </a:r>
          </a:p>
        </p:txBody>
      </p:sp>
    </p:spTree>
    <p:extLst>
      <p:ext uri="{BB962C8B-B14F-4D97-AF65-F5344CB8AC3E}">
        <p14:creationId xmlns:p14="http://schemas.microsoft.com/office/powerpoint/2010/main" val="314011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7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: Connectivity Check: Bulk </a:t>
            </a:r>
            <a:endParaRPr lang="en-US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10044752" y="998423"/>
            <a:ext cx="2147244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Once user select the ULL Fibre posting running the ULL Fibre check then the records will be displayed to him in pop up (similar to </a:t>
            </a:r>
            <a:r>
              <a:rPr lang="en-GB" sz="1300" dirty="0" err="1" smtClean="0"/>
              <a:t>Offnet</a:t>
            </a:r>
            <a:r>
              <a:rPr lang="en-GB" sz="1300" dirty="0" smtClean="0"/>
              <a:t>)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152" y="1092584"/>
            <a:ext cx="9753600" cy="443865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370212" y="2704393"/>
            <a:ext cx="5877600" cy="270401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11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8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: Connectivity Check: Bulk </a:t>
            </a:r>
            <a:endParaRPr lang="en-US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9951992" y="1265468"/>
            <a:ext cx="1960654" cy="5315803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Advance filter section to be updated to have the ULL option to filter out the records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28" y="1268044"/>
            <a:ext cx="9570039" cy="398689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35131" y="4680176"/>
            <a:ext cx="5041578" cy="244521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276709" y="3030582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942218" y="3030581"/>
            <a:ext cx="979714" cy="757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33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9</a:t>
            </a:fld>
            <a:endParaRPr lang="nl-NL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: Connectivity Check: Bulk </a:t>
            </a:r>
            <a:endParaRPr lang="en-US" dirty="0"/>
          </a:p>
        </p:txBody>
      </p:sp>
      <p:sp>
        <p:nvSpPr>
          <p:cNvPr id="5" name="Vertical Text Placeholder 1"/>
          <p:cNvSpPr txBox="1">
            <a:spLocks/>
          </p:cNvSpPr>
          <p:nvPr/>
        </p:nvSpPr>
        <p:spPr>
          <a:xfrm>
            <a:off x="10251958" y="998423"/>
            <a:ext cx="1698857" cy="5859577"/>
          </a:xfrm>
          <a:prstGeom prst="rect">
            <a:avLst/>
          </a:prstGeom>
        </p:spPr>
        <p:txBody>
          <a:bodyPr/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799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799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799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799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799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In case the bandwidth and resiliency of the bulk record is not inline with the ULL fibre record selected on the connectivity page then system will show error to the user</a:t>
            </a:r>
          </a:p>
          <a:p>
            <a:pPr marL="263525" lvl="2">
              <a:buClr>
                <a:schemeClr val="accent1"/>
              </a:buClr>
            </a:pPr>
            <a:endParaRPr lang="en-GB" sz="1300" dirty="0"/>
          </a:p>
          <a:p>
            <a:pPr marL="263525" lvl="2">
              <a:buClr>
                <a:schemeClr val="accent1"/>
              </a:buClr>
            </a:pPr>
            <a:r>
              <a:rPr lang="en-GB" sz="1300" dirty="0" smtClean="0"/>
              <a:t>User can correct the bandwidth on the  CPQ </a:t>
            </a:r>
            <a:r>
              <a:rPr lang="en-GB" sz="1300" dirty="0" err="1" smtClean="0"/>
              <a:t>config</a:t>
            </a:r>
            <a:r>
              <a:rPr lang="en-GB" sz="1300" dirty="0" smtClean="0"/>
              <a:t> screen</a:t>
            </a:r>
          </a:p>
          <a:p>
            <a:pPr marL="263525" lvl="2">
              <a:buClr>
                <a:schemeClr val="accent1"/>
              </a:buClr>
            </a:pPr>
            <a:endParaRPr lang="en-US" sz="1300" dirty="0" smtClean="0"/>
          </a:p>
          <a:p>
            <a:endParaRPr lang="en-US" sz="1300" dirty="0" smtClean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Font typeface="Wingdings" panose="05000000000000000000" pitchFamily="2" charset="2"/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017" y="1143000"/>
            <a:ext cx="9418320" cy="4572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955281" y="4784679"/>
            <a:ext cx="1762800" cy="34902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04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656083"/>
              </p:ext>
            </p:extLst>
          </p:nvPr>
        </p:nvGraphicFramePr>
        <p:xfrm>
          <a:off x="381217" y="620204"/>
          <a:ext cx="11429562" cy="1951619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6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AutoNum type="arabicPeriod"/>
                        <a:tabLst/>
                      </a:pPr>
                      <a:r>
                        <a:rPr kumimoji="0" lang="en-I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nectivity Check 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20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48000" y="1173689"/>
            <a:ext cx="11495996" cy="4665600"/>
          </a:xfrm>
        </p:spPr>
        <p:txBody>
          <a:bodyPr/>
          <a:lstStyle/>
          <a:p>
            <a:r>
              <a:rPr lang="en-US" sz="1400" dirty="0" smtClean="0"/>
              <a:t>Japan , Singapore and Hong Kong supports ULL </a:t>
            </a:r>
            <a:r>
              <a:rPr lang="en-US" sz="1400" dirty="0" err="1" smtClean="0"/>
              <a:t>Fibre</a:t>
            </a:r>
            <a:endParaRPr lang="en-US" sz="1400" dirty="0" smtClean="0"/>
          </a:p>
          <a:p>
            <a:r>
              <a:rPr lang="en-GB" sz="1400" dirty="0" smtClean="0"/>
              <a:t>ULL Fibre availability is provided by our preferred carrier to the Colt</a:t>
            </a:r>
          </a:p>
          <a:p>
            <a:r>
              <a:rPr lang="en-GB" sz="1400" dirty="0" smtClean="0"/>
              <a:t>CPQ will provide an option to check the ULL Fibre connectivity for these countries</a:t>
            </a:r>
            <a:endParaRPr lang="en-US" sz="1400" dirty="0" smtClean="0"/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3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As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5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373" y="1129632"/>
            <a:ext cx="7629393" cy="377126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354373" y="4574323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269411" y="1129632"/>
            <a:ext cx="3301235" cy="4665600"/>
          </a:xfrm>
        </p:spPr>
        <p:txBody>
          <a:bodyPr/>
          <a:lstStyle/>
          <a:p>
            <a:r>
              <a:rPr lang="en-US" sz="1400" dirty="0" smtClean="0"/>
              <a:t>On the Site Detail page, there will be another option called ‘ULL Fibre Check’ which will be introduced.</a:t>
            </a:r>
          </a:p>
          <a:p>
            <a:r>
              <a:rPr lang="en-US" sz="1400" dirty="0" smtClean="0"/>
              <a:t>ULL </a:t>
            </a:r>
            <a:r>
              <a:rPr lang="en-US" sz="1400" dirty="0" err="1" smtClean="0"/>
              <a:t>Fibre</a:t>
            </a:r>
            <a:r>
              <a:rPr lang="en-US" sz="1400" dirty="0" smtClean="0"/>
              <a:t> check will work only for Japan, Singapore and Hong Kong. For Other countries it would return a </a:t>
            </a:r>
            <a:r>
              <a:rPr lang="en-US" sz="1400" dirty="0" err="1" smtClean="0"/>
              <a:t>errorr</a:t>
            </a:r>
            <a:r>
              <a:rPr lang="en-US" sz="1400" dirty="0" smtClean="0"/>
              <a:t> message</a:t>
            </a:r>
          </a:p>
          <a:p>
            <a:r>
              <a:rPr lang="en-US" sz="1400" dirty="0" smtClean="0"/>
              <a:t>This change is required across Ethernet Line, Ethernet Hub &amp; Spoke, Wave &amp; IPAccess 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4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Jap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25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3031" y="1191506"/>
            <a:ext cx="7800975" cy="431482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271344" y="4649558"/>
            <a:ext cx="992778" cy="326572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89022" y="1016118"/>
            <a:ext cx="3301235" cy="4665600"/>
          </a:xfrm>
        </p:spPr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Only for Japan , when user clicks on the ‘ULL </a:t>
            </a:r>
            <a:r>
              <a:rPr lang="en-US" dirty="0" err="1" smtClean="0"/>
              <a:t>Fibre</a:t>
            </a:r>
            <a:r>
              <a:rPr lang="en-US" dirty="0" smtClean="0"/>
              <a:t>’ check button then system </a:t>
            </a:r>
            <a:r>
              <a:rPr lang="en-US" dirty="0"/>
              <a:t>should check </a:t>
            </a:r>
            <a:r>
              <a:rPr lang="en-US" dirty="0" smtClean="0"/>
              <a:t>‘</a:t>
            </a:r>
            <a:r>
              <a:rPr lang="en-US" dirty="0"/>
              <a:t>Service Bandwidth’ and ‘Resiliency</a:t>
            </a:r>
            <a:r>
              <a:rPr lang="en-US" dirty="0" smtClean="0"/>
              <a:t>’ field are populated</a:t>
            </a:r>
          </a:p>
          <a:p>
            <a:r>
              <a:rPr lang="en-US" dirty="0" smtClean="0"/>
              <a:t>In </a:t>
            </a:r>
            <a:r>
              <a:rPr lang="en-US" dirty="0"/>
              <a:t>case they are missing , CPQ will be provide the necessary error message to select these fields</a:t>
            </a:r>
          </a:p>
          <a:p>
            <a:pPr marL="263525" lvl="1" indent="0">
              <a:buNone/>
            </a:pPr>
            <a:endParaRPr lang="en-US" dirty="0" smtClean="0"/>
          </a:p>
          <a:p>
            <a:pPr marL="263525" lvl="1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5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Japan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43031" y="2267557"/>
            <a:ext cx="39711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srgbClr val="FF0000"/>
                </a:solidFill>
              </a:rPr>
              <a:t>Please select bandwidth to proceed with the ULL Fibre check</a:t>
            </a:r>
            <a:endParaRPr lang="en-US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98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95554" y="658910"/>
            <a:ext cx="3301235" cy="5859577"/>
          </a:xfrm>
        </p:spPr>
        <p:txBody>
          <a:bodyPr/>
          <a:lstStyle/>
          <a:p>
            <a:r>
              <a:rPr lang="en-US" sz="1300" dirty="0" smtClean="0"/>
              <a:t>CPQ will present the ULL </a:t>
            </a:r>
            <a:r>
              <a:rPr lang="en-US" sz="1300" dirty="0" err="1" smtClean="0"/>
              <a:t>Fibre</a:t>
            </a:r>
            <a:r>
              <a:rPr lang="en-US" sz="1300" dirty="0" smtClean="0"/>
              <a:t> connectivity details in a tabular form in connectivity table. </a:t>
            </a:r>
          </a:p>
          <a:p>
            <a:r>
              <a:rPr lang="en-US" sz="1300" dirty="0" smtClean="0"/>
              <a:t>CPQ will get the result back from the NTT data set</a:t>
            </a: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6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Japa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9725" y="850446"/>
            <a:ext cx="8389211" cy="39814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3623" y="2548074"/>
            <a:ext cx="7685313" cy="159285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298693" y="1576150"/>
            <a:ext cx="7445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NTT5657</a:t>
            </a:r>
            <a:endParaRPr lang="en-US" sz="1000" dirty="0"/>
          </a:p>
        </p:txBody>
      </p:sp>
      <p:sp>
        <p:nvSpPr>
          <p:cNvPr id="9" name="Rectangle 8"/>
          <p:cNvSpPr/>
          <p:nvPr/>
        </p:nvSpPr>
        <p:spPr>
          <a:xfrm>
            <a:off x="6374674" y="1576150"/>
            <a:ext cx="449648" cy="4859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6374674" y="1857104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Retail Building</a:t>
            </a:r>
            <a:endParaRPr lang="en-US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6400800" y="1563933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New Buil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34643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95554" y="658910"/>
            <a:ext cx="3301235" cy="5859577"/>
          </a:xfrm>
        </p:spPr>
        <p:txBody>
          <a:bodyPr/>
          <a:lstStyle/>
          <a:p>
            <a:pPr marL="263525" lvl="2">
              <a:buClr>
                <a:schemeClr val="accent1"/>
              </a:buClr>
            </a:pPr>
            <a:r>
              <a:rPr lang="en-US" sz="1300" dirty="0"/>
              <a:t>Once user selects an ULL </a:t>
            </a:r>
            <a:r>
              <a:rPr lang="en-US" sz="1300" dirty="0" err="1"/>
              <a:t>Fibre</a:t>
            </a:r>
            <a:r>
              <a:rPr lang="en-US" sz="1300" dirty="0"/>
              <a:t> option then the bandwidth and Resiliency will validated against what is present on the </a:t>
            </a:r>
            <a:r>
              <a:rPr lang="en-US" sz="1300" dirty="0" smtClean="0"/>
              <a:t>quote and appropriate error message will be shown </a:t>
            </a:r>
          </a:p>
          <a:p>
            <a:endParaRPr lang="en-US" sz="1300" dirty="0"/>
          </a:p>
          <a:p>
            <a:pPr lvl="2">
              <a:spcBef>
                <a:spcPts val="0"/>
              </a:spcBef>
            </a:pPr>
            <a:endParaRPr lang="en-US" sz="1200" dirty="0" smtClean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7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Japa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3096" y="3213572"/>
            <a:ext cx="8533435" cy="29051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3097" y="526432"/>
            <a:ext cx="8427969" cy="26871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404593" y="2734654"/>
            <a:ext cx="5576473" cy="28379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FF0000"/>
                </a:solidFill>
                <a:latin typeface="+mj-lt"/>
              </a:rPr>
              <a:t>Bandwidth option selected in the ULL Table does match the Service bandwidth Please change the bandwidth or select  another option from ULL table</a:t>
            </a:r>
            <a:endParaRPr lang="en-US" sz="1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57325" y="3213572"/>
            <a:ext cx="5576473" cy="28379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rgbClr val="FF0000"/>
                </a:solidFill>
                <a:latin typeface="+mj-lt"/>
              </a:rPr>
              <a:t>Resiliency option selected in the ULL Table does match the Resiliency selected  Please change the bandwidth or select  another option from ULL table</a:t>
            </a:r>
            <a:endParaRPr lang="en-US" sz="1000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1553" y="4446314"/>
            <a:ext cx="7814978" cy="118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04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32008" y="836800"/>
            <a:ext cx="3301235" cy="5859577"/>
          </a:xfrm>
        </p:spPr>
        <p:txBody>
          <a:bodyPr/>
          <a:lstStyle/>
          <a:p>
            <a:r>
              <a:rPr lang="en-US" sz="1300" dirty="0"/>
              <a:t>CPQ will present the ULL </a:t>
            </a:r>
            <a:r>
              <a:rPr lang="en-US" sz="1300" dirty="0" err="1"/>
              <a:t>Fibre</a:t>
            </a:r>
            <a:r>
              <a:rPr lang="en-US" sz="1300" dirty="0"/>
              <a:t> connectivity details in a tabular form. CPQ will get the result back from the </a:t>
            </a:r>
            <a:r>
              <a:rPr lang="en-US" sz="1300" dirty="0" smtClean="0"/>
              <a:t>HKBN(Hong Kong) </a:t>
            </a:r>
            <a:r>
              <a:rPr lang="en-US" sz="1300" dirty="0"/>
              <a:t>data </a:t>
            </a:r>
            <a:r>
              <a:rPr lang="en-US" sz="1300" dirty="0" smtClean="0"/>
              <a:t>set</a:t>
            </a:r>
          </a:p>
          <a:p>
            <a:r>
              <a:rPr lang="en-US" sz="1300" dirty="0" smtClean="0"/>
              <a:t>For Hong Kong , system will display BMO charges in the connectivity table. These will not be applied automatically on the quote.</a:t>
            </a:r>
          </a:p>
          <a:p>
            <a:r>
              <a:rPr lang="en-US" sz="1300" dirty="0" smtClean="0"/>
              <a:t>For Hong Kong, in case the building is more than 10 Km from central office. CPQ will automatically identify such building and apply the supplier surcharge</a:t>
            </a:r>
            <a:endParaRPr lang="en-US" sz="1300" dirty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8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Hong Ko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571" y="919605"/>
            <a:ext cx="8353429" cy="429577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400800" y="1358601"/>
            <a:ext cx="3732028" cy="18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chemeClr val="tx1"/>
                </a:solidFill>
              </a:rPr>
              <a:t>742-748 Cheung </a:t>
            </a:r>
            <a:r>
              <a:rPr lang="en-GB" sz="900" dirty="0" err="1">
                <a:solidFill>
                  <a:schemeClr val="tx1"/>
                </a:solidFill>
              </a:rPr>
              <a:t>Sha</a:t>
            </a:r>
            <a:r>
              <a:rPr lang="en-GB" sz="900" dirty="0">
                <a:solidFill>
                  <a:schemeClr val="tx1"/>
                </a:solidFill>
              </a:rPr>
              <a:t> Wan Road, Cheung </a:t>
            </a:r>
            <a:r>
              <a:rPr lang="en-GB" sz="900" dirty="0" err="1">
                <a:solidFill>
                  <a:schemeClr val="tx1"/>
                </a:solidFill>
              </a:rPr>
              <a:t>Sha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smtClean="0">
                <a:solidFill>
                  <a:schemeClr val="tx1"/>
                </a:solidFill>
              </a:rPr>
              <a:t>Wan, Hong Kong</a:t>
            </a:r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8637" y="3588698"/>
            <a:ext cx="4124325" cy="2095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4423" y="2607433"/>
            <a:ext cx="7727574" cy="8001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298693" y="1605181"/>
            <a:ext cx="8360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HKBN1245</a:t>
            </a:r>
            <a:endParaRPr lang="en-US" sz="1000" dirty="0"/>
          </a:p>
        </p:txBody>
      </p:sp>
      <p:sp>
        <p:nvSpPr>
          <p:cNvPr id="11" name="Rectangle 10"/>
          <p:cNvSpPr/>
          <p:nvPr/>
        </p:nvSpPr>
        <p:spPr>
          <a:xfrm>
            <a:off x="6400799" y="1851402"/>
            <a:ext cx="444138" cy="303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400799" y="1943232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Retail Building</a:t>
            </a:r>
            <a:endParaRPr lang="en-US" sz="1000" dirty="0"/>
          </a:p>
        </p:txBody>
      </p:sp>
      <p:sp>
        <p:nvSpPr>
          <p:cNvPr id="13" name="Rectangle 12"/>
          <p:cNvSpPr/>
          <p:nvPr/>
        </p:nvSpPr>
        <p:spPr>
          <a:xfrm>
            <a:off x="6400799" y="1605181"/>
            <a:ext cx="444138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400799" y="1619366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New Buil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35921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856112"/>
            <a:ext cx="8382000" cy="4381500"/>
          </a:xfrm>
          <a:prstGeom prst="rect">
            <a:avLst/>
          </a:prstGeom>
        </p:spPr>
      </p:pic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399909" y="856112"/>
            <a:ext cx="3301235" cy="5859577"/>
          </a:xfrm>
        </p:spPr>
        <p:txBody>
          <a:bodyPr/>
          <a:lstStyle/>
          <a:p>
            <a:r>
              <a:rPr lang="en-US" sz="1400" dirty="0"/>
              <a:t>CPQ will present the ULL </a:t>
            </a:r>
            <a:r>
              <a:rPr lang="en-US" sz="1400" dirty="0" err="1"/>
              <a:t>Fibre</a:t>
            </a:r>
            <a:r>
              <a:rPr lang="en-US" sz="1400" dirty="0"/>
              <a:t> connectivity details in a tabular form. CPQ will get the result back from the </a:t>
            </a:r>
            <a:r>
              <a:rPr lang="en-US" sz="1400" dirty="0" err="1" smtClean="0"/>
              <a:t>Netlink</a:t>
            </a:r>
            <a:r>
              <a:rPr lang="en-US" sz="1400" dirty="0" smtClean="0"/>
              <a:t> Trust </a:t>
            </a:r>
            <a:r>
              <a:rPr lang="en-US" sz="1400" dirty="0"/>
              <a:t>data set</a:t>
            </a:r>
          </a:p>
          <a:p>
            <a:pPr lvl="2">
              <a:spcBef>
                <a:spcPts val="0"/>
              </a:spcBef>
            </a:pPr>
            <a:endParaRPr lang="en-US" sz="1200" dirty="0"/>
          </a:p>
          <a:p>
            <a:pPr lvl="2"/>
            <a:endParaRPr lang="en-US" sz="1200" dirty="0" smtClean="0"/>
          </a:p>
          <a:p>
            <a:pPr marL="263525" lvl="1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9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Connectivity Check : Singapor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400799" y="1358601"/>
            <a:ext cx="4271749" cy="169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tx1"/>
                </a:solidFill>
              </a:rPr>
              <a:t>1, STRAITS BOULEVARD, CHINESE CULTURAL CENTRE, 018906, Singapore</a:t>
            </a:r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0562" y="2535355"/>
            <a:ext cx="7602582" cy="8477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298693" y="1605181"/>
            <a:ext cx="8360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NET76768</a:t>
            </a:r>
            <a:endParaRPr lang="en-US" sz="1000" dirty="0"/>
          </a:p>
        </p:txBody>
      </p:sp>
      <p:sp>
        <p:nvSpPr>
          <p:cNvPr id="13" name="Rectangle 12"/>
          <p:cNvSpPr/>
          <p:nvPr/>
        </p:nvSpPr>
        <p:spPr>
          <a:xfrm>
            <a:off x="6400799" y="1918728"/>
            <a:ext cx="425700" cy="218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400799" y="1891373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Retail Building</a:t>
            </a:r>
            <a:endParaRPr lang="en-US" sz="1000" dirty="0"/>
          </a:p>
        </p:txBody>
      </p:sp>
      <p:sp>
        <p:nvSpPr>
          <p:cNvPr id="14" name="Rectangle 13"/>
          <p:cNvSpPr/>
          <p:nvPr/>
        </p:nvSpPr>
        <p:spPr>
          <a:xfrm>
            <a:off x="6400799" y="1605181"/>
            <a:ext cx="425700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6400799" y="1619366"/>
            <a:ext cx="1149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New Buildin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8015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08F47C9-3EFC-4B28-BBB9-0E576D1B2CB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C46BF17-2514-44E0-BC64-81C1E2D331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0c2c13-7744-47da-b0b3-ec9a261364d9"/>
    <ds:schemaRef ds:uri="bfb1d42a-be00-49d6-98c3-ab38162f8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52CD7EB-5B92-496B-BBE6-4866BD0C252E}">
  <ds:schemaRefs>
    <ds:schemaRef ds:uri="http://purl.org/dc/terms/"/>
    <ds:schemaRef ds:uri="450c2c13-7744-47da-b0b3-ec9a261364d9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bfb1d42a-be00-49d6-98c3-ab38162f85f2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844</TotalTime>
  <Words>1108</Words>
  <Application>Microsoft Office PowerPoint</Application>
  <PresentationFormat>Widescreen</PresentationFormat>
  <Paragraphs>136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Wingdings</vt:lpstr>
      <vt:lpstr>Corporate template-set COLT</vt:lpstr>
      <vt:lpstr>1_Corporate template-set COLT</vt:lpstr>
      <vt:lpstr>think-cell Slide</vt:lpstr>
      <vt:lpstr>CPQ – Asia  Design and Mock Up Sept ‘19</vt:lpstr>
      <vt:lpstr>Document Release and Change Log Details</vt:lpstr>
      <vt:lpstr>CPQ Asia: Connectivity Check : Asia</vt:lpstr>
      <vt:lpstr>CPQ Asia: Connectivity Check : Japan</vt:lpstr>
      <vt:lpstr>CPQ Asia: Connectivity Check : Japan</vt:lpstr>
      <vt:lpstr>CPQ Asia: Connectivity Check : Japan</vt:lpstr>
      <vt:lpstr>CPQ Asia: Connectivity Check : Japan</vt:lpstr>
      <vt:lpstr>CPQ Asia: Connectivity Check : Hong Kong</vt:lpstr>
      <vt:lpstr>CPQ Asia: Connectivity Check : Singapore</vt:lpstr>
      <vt:lpstr>CPQ Asia: Connectivity Check : IPAccess : Japan </vt:lpstr>
      <vt:lpstr>CPQ Asia: Connectivity Check : IPAccess : Japan </vt:lpstr>
      <vt:lpstr>CPQ Asia: Connectivity Check : IPAccess : Japan </vt:lpstr>
      <vt:lpstr>PowerPoint Presentation</vt:lpstr>
      <vt:lpstr>CPQ Asia: Connectivity Check : South Korea</vt:lpstr>
      <vt:lpstr>CPQ Asia: Connectivity Check: Bulk </vt:lpstr>
      <vt:lpstr>CPQ Asia: Connectivity Check: Bulk </vt:lpstr>
      <vt:lpstr>CPQ Asia: Connectivity Check: Bulk </vt:lpstr>
      <vt:lpstr>CPQ Asia: Connectivity Check: Bulk </vt:lpstr>
      <vt:lpstr>CPQ Asia: Connectivity Check: Bulk 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subject/>
  <dc:creator>Colt Technology Services</dc:creator>
  <cp:keywords/>
  <dc:description/>
  <cp:lastModifiedBy>Upadhyay, Saurabh</cp:lastModifiedBy>
  <cp:revision>1527</cp:revision>
  <dcterms:created xsi:type="dcterms:W3CDTF">2017-08-30T16:21:34Z</dcterms:created>
  <dcterms:modified xsi:type="dcterms:W3CDTF">2019-11-28T07:12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